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75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74" userDrawn="1">
          <p15:clr>
            <a:srgbClr val="A4A3A4"/>
          </p15:clr>
        </p15:guide>
        <p15:guide id="2" orient="horz" pos="3120" userDrawn="1">
          <p15:clr>
            <a:srgbClr val="A4A3A4"/>
          </p15:clr>
        </p15:guide>
        <p15:guide id="4" pos="4152" userDrawn="1">
          <p15:clr>
            <a:srgbClr val="A4A3A4"/>
          </p15:clr>
        </p15:guide>
        <p15:guide id="5" pos="264" userDrawn="1">
          <p15:clr>
            <a:srgbClr val="A4A3A4"/>
          </p15:clr>
        </p15:guide>
        <p15:guide id="6" orient="horz" pos="144" userDrawn="1">
          <p15:clr>
            <a:srgbClr val="A4A3A4"/>
          </p15:clr>
        </p15:guide>
        <p15:guide id="7" pos="64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se Jaime Ferrer Garay" initials="JJFG" lastIdx="2" clrIdx="0"/>
  <p:cmAuthor id="2" name="Christopher Ngai" initials="CN" lastIdx="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74"/>
    <a:srgbClr val="C2EADA"/>
    <a:srgbClr val="FFCCFF"/>
    <a:srgbClr val="660066"/>
    <a:srgbClr val="FF00FF"/>
    <a:srgbClr val="00FFFF"/>
    <a:srgbClr val="808080"/>
    <a:srgbClr val="E6E6E6"/>
    <a:srgbClr val="FF6699"/>
    <a:srgbClr val="00AE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淺色樣式 3 - 輔色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2DE63D5-997A-4646-A377-4702673A728D}" styleName="淺色樣式 2 - 輔色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淺色樣式 3 - 輔色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62"/>
    <p:restoredTop sz="91892" autoAdjust="0"/>
  </p:normalViewPr>
  <p:slideViewPr>
    <p:cSldViewPr snapToGrid="0">
      <p:cViewPr varScale="1">
        <p:scale>
          <a:sx n="85" d="100"/>
          <a:sy n="85" d="100"/>
        </p:scale>
        <p:origin x="509" y="48"/>
      </p:cViewPr>
      <p:guideLst>
        <p:guide orient="horz" pos="4174"/>
        <p:guide orient="horz" pos="3120"/>
        <p:guide pos="4152"/>
        <p:guide pos="264"/>
        <p:guide orient="horz" pos="144"/>
        <p:guide pos="64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20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D6F756-F78B-8047-ACF8-4C1BBB58A066}" type="datetimeFigureOut">
              <a:rPr lang="en-US" smtClean="0"/>
              <a:t>6/1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331867-F3E8-944D-BF5F-0E32F8023F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033749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2953B6-F5A4-9A4F-8B42-F86434E1D2F0}" type="datetimeFigureOut">
              <a:rPr lang="en-US" smtClean="0"/>
              <a:t>6/1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0D6A7E-5AF5-424D-89EE-02B68D2F754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86951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dirty="0"/>
              <a:t>有多少病人是在二線對</a:t>
            </a:r>
            <a:r>
              <a:rPr lang="en-US" altLang="zh-TW" dirty="0"/>
              <a:t>R</a:t>
            </a:r>
            <a:r>
              <a:rPr lang="zh-TW" altLang="en-US" dirty="0"/>
              <a:t> </a:t>
            </a:r>
            <a:r>
              <a:rPr lang="en-US" altLang="zh-TW" dirty="0"/>
              <a:t>refractory</a:t>
            </a:r>
            <a:r>
              <a:rPr lang="zh-TW" altLang="en-US" dirty="0"/>
              <a:t>的，在</a:t>
            </a:r>
            <a:r>
              <a:rPr lang="en-US" altLang="zh-TW" dirty="0"/>
              <a:t>OB</a:t>
            </a:r>
            <a:r>
              <a:rPr lang="zh-TW" altLang="en-US" dirty="0"/>
              <a:t>的二線給付之下，是否影響醫師在一線的用藥</a:t>
            </a:r>
            <a:endParaRPr lang="en-US" altLang="zh-TW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0D6A7E-5AF5-424D-89EE-02B68D2F754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03228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" y="0"/>
            <a:ext cx="12188952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5613" y="1007218"/>
            <a:ext cx="10940781" cy="1321056"/>
          </a:xfrm>
        </p:spPr>
        <p:txBody>
          <a:bodyPr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5614" y="2415856"/>
            <a:ext cx="8118446" cy="124077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20233" y="6370949"/>
            <a:ext cx="5151534" cy="365125"/>
          </a:xfrm>
        </p:spPr>
        <p:txBody>
          <a:bodyPr anchor="ctr"/>
          <a:lstStyle/>
          <a:p>
            <a:r>
              <a:rPr lang="en-US" dirty="0"/>
              <a:t>Aliqopa Launch Excellence Meeting • RESTRICTED For Internal Use Only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700577" y="2555213"/>
            <a:ext cx="2695816" cy="634301"/>
          </a:xfrm>
        </p:spPr>
        <p:txBody>
          <a:bodyPr/>
          <a:lstStyle>
            <a:lvl1pPr algn="r">
              <a:defRPr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12516" y="196770"/>
            <a:ext cx="2095018" cy="81044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矩形 6"/>
          <p:cNvSpPr/>
          <p:nvPr userDrawn="1"/>
        </p:nvSpPr>
        <p:spPr>
          <a:xfrm>
            <a:off x="11172825" y="354815"/>
            <a:ext cx="621372" cy="56482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12" name="圖片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9504" y="383390"/>
            <a:ext cx="536246" cy="536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9478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4" y="2072819"/>
            <a:ext cx="10870672" cy="1474329"/>
          </a:xfrm>
        </p:spPr>
        <p:txBody>
          <a:bodyPr anchor="b"/>
          <a:lstStyle>
            <a:lvl1pPr algn="l">
              <a:defRPr sz="4000" b="1" cap="none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5263" y="3547148"/>
            <a:ext cx="10900217" cy="859753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5615" y="6370949"/>
            <a:ext cx="8819162" cy="365125"/>
          </a:xfrm>
        </p:spPr>
        <p:txBody>
          <a:bodyPr anchor="ctr"/>
          <a:lstStyle/>
          <a:p>
            <a:r>
              <a:rPr lang="en-US" dirty="0"/>
              <a:t>Aliqopa Launch Excellence Meeting • RESTRICTED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1728214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3" y="914400"/>
            <a:ext cx="11126787" cy="50928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23600" y="6274919"/>
            <a:ext cx="5498077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liqopa Launch Excellence Meeting • RESTRICTED For Internal Use Only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44494" y="6274919"/>
            <a:ext cx="662884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00455317-9B1C-7F4E-8829-CF2A48377C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82690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3" y="914400"/>
            <a:ext cx="5404893" cy="52117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177507" y="914400"/>
            <a:ext cx="5404893" cy="52117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23600" y="6274919"/>
            <a:ext cx="5498077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liqopa Launch Excellence Meeting • RESTRICTED For Internal Use Only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44494" y="6274919"/>
            <a:ext cx="662884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00455317-9B1C-7F4E-8829-CF2A48377C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06856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85483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23600" y="6274919"/>
            <a:ext cx="5498077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liqopa Launch Excellence Meeting • RESTRICTED For Internal Use Only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44494" y="6274919"/>
            <a:ext cx="662884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00455317-9B1C-7F4E-8829-CF2A48377C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57012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23600" y="6274919"/>
            <a:ext cx="5498077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liqopa Launch Excellence Meeting • RESTRICTED For Internal Use Only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44494" y="6274919"/>
            <a:ext cx="662884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00455317-9B1C-7F4E-8829-CF2A48377C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5614" y="51092"/>
            <a:ext cx="10610320" cy="6860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8370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09758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5614" y="51092"/>
            <a:ext cx="10610320" cy="68607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5613" y="914400"/>
            <a:ext cx="11126787" cy="521176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23600" y="6274919"/>
            <a:ext cx="5498077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liqopa Launch Excellence Meeting • RESTRICTED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44494" y="6274919"/>
            <a:ext cx="662884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00455317-9B1C-7F4E-8829-CF2A48377CC9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5613" y="816077"/>
            <a:ext cx="11126787" cy="0"/>
          </a:xfrm>
          <a:prstGeom prst="line">
            <a:avLst/>
          </a:prstGeom>
          <a:ln>
            <a:gradFill>
              <a:gsLst>
                <a:gs pos="0">
                  <a:schemeClr val="tx2"/>
                </a:gs>
                <a:gs pos="99000">
                  <a:schemeClr val="accent4"/>
                </a:gs>
              </a:gsLst>
              <a:lin ang="0" scaled="0"/>
            </a:gra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10066488" y="6007261"/>
            <a:ext cx="2095018" cy="85073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圖片 12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5200" y="288680"/>
            <a:ext cx="457200" cy="457200"/>
          </a:xfrm>
          <a:prstGeom prst="rect">
            <a:avLst/>
          </a:prstGeom>
        </p:spPr>
      </p:pic>
      <p:sp>
        <p:nvSpPr>
          <p:cNvPr id="8" name="MSIPCMContentMarking" descr="{&quot;HashCode&quot;:-242339457,&quot;Placement&quot;:&quot;Footer&quot;}"/>
          <p:cNvSpPr txBox="1"/>
          <p:nvPr userDrawn="1"/>
        </p:nvSpPr>
        <p:spPr>
          <a:xfrm>
            <a:off x="10318885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en-US" sz="2200" dirty="0" err="1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1903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54" r:id="rId5"/>
    <p:sldLayoutId id="2147483655" r:id="rId6"/>
  </p:sldLayoutIdLst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0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600" b="1" kern="1200" cap="all">
          <a:solidFill>
            <a:schemeClr val="tx2"/>
          </a:solidFill>
          <a:latin typeface="+mn-lt"/>
          <a:ea typeface="+mn-ea"/>
          <a:cs typeface="+mn-cs"/>
        </a:defRPr>
      </a:lvl1pPr>
      <a:lvl2pPr marL="548640" indent="-91440" algn="l" defTabSz="457200" rtl="0" eaLnBrk="1" latinLnBrk="0" hangingPunct="1">
        <a:spcBef>
          <a:spcPts val="200"/>
        </a:spcBef>
        <a:buClr>
          <a:schemeClr val="tx2"/>
        </a:buClr>
        <a:buFont typeface="Arial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indent="-91440" algn="l" defTabSz="457200" rtl="0" eaLnBrk="1" latinLnBrk="0" hangingPunct="1">
        <a:spcBef>
          <a:spcPts val="200"/>
        </a:spcBef>
        <a:buClr>
          <a:schemeClr val="tx2"/>
        </a:buClr>
        <a:buFont typeface="Lucida Grande"/>
        <a:buChar char="-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40" indent="-91440" algn="l" defTabSz="457200" rtl="0" eaLnBrk="1" latinLnBrk="0" hangingPunct="1">
        <a:spcBef>
          <a:spcPts val="200"/>
        </a:spcBef>
        <a:buClr>
          <a:schemeClr val="tx2"/>
        </a:buClr>
        <a:buFont typeface="Arial"/>
        <a:buChar char="•"/>
        <a:defRPr sz="11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874520" indent="-91440" algn="l" defTabSz="457200" rtl="0" eaLnBrk="1" latinLnBrk="0" hangingPunct="1">
        <a:spcBef>
          <a:spcPts val="200"/>
        </a:spcBef>
        <a:buClr>
          <a:schemeClr val="tx2"/>
        </a:buClr>
        <a:buFont typeface="Arial"/>
        <a:buChar char="»"/>
        <a:defRPr sz="11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054" y="0"/>
            <a:ext cx="10705715" cy="686072"/>
          </a:xfrm>
        </p:spPr>
        <p:txBody>
          <a:bodyPr>
            <a:noAutofit/>
          </a:bodyPr>
          <a:lstStyle/>
          <a:p>
            <a:r>
              <a:rPr lang="en-US" altLang="zh-TW" sz="2800" dirty="0"/>
              <a:t>HST Lymphoma Working Group- Follicular lymphoma </a:t>
            </a:r>
            <a:endParaRPr lang="en-US" sz="2800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118118"/>
              </p:ext>
            </p:extLst>
          </p:nvPr>
        </p:nvGraphicFramePr>
        <p:xfrm>
          <a:off x="372177" y="1138709"/>
          <a:ext cx="11336341" cy="5659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6121">
                  <a:extLst>
                    <a:ext uri="{9D8B030D-6E8A-4147-A177-3AD203B41FA5}">
                      <a16:colId xmlns:a16="http://schemas.microsoft.com/office/drawing/2014/main" val="1244038632"/>
                    </a:ext>
                  </a:extLst>
                </a:gridCol>
                <a:gridCol w="6141741">
                  <a:extLst>
                    <a:ext uri="{9D8B030D-6E8A-4147-A177-3AD203B41FA5}">
                      <a16:colId xmlns:a16="http://schemas.microsoft.com/office/drawing/2014/main" val="2564010878"/>
                    </a:ext>
                  </a:extLst>
                </a:gridCol>
                <a:gridCol w="1787645">
                  <a:extLst>
                    <a:ext uri="{9D8B030D-6E8A-4147-A177-3AD203B41FA5}">
                      <a16:colId xmlns:a16="http://schemas.microsoft.com/office/drawing/2014/main" val="1221906493"/>
                    </a:ext>
                  </a:extLst>
                </a:gridCol>
                <a:gridCol w="1930834">
                  <a:extLst>
                    <a:ext uri="{9D8B030D-6E8A-4147-A177-3AD203B41FA5}">
                      <a16:colId xmlns:a16="http://schemas.microsoft.com/office/drawing/2014/main" val="149348918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Top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2000" dirty="0"/>
                        <a:t>講者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2000" dirty="0"/>
                        <a:t>座長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68483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4:20-14: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-292100" algn="l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ening Remar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王銘崇 醫師</a:t>
                      </a:r>
                      <a:endParaRPr lang="en-US" altLang="zh-TW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033131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4:30-15:0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ing</a:t>
                      </a:r>
                      <a:r>
                        <a:rPr lang="en-US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rognostic factor for FL patients</a:t>
                      </a:r>
                    </a:p>
                    <a:p>
                      <a:pPr marL="450850" lvl="1" indent="-2857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e-existing prognostic factor</a:t>
                      </a:r>
                    </a:p>
                    <a:p>
                      <a:pPr marL="450850" lvl="1" indent="-2857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st treatment outco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zh-TW" alt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裴松南 醫師</a:t>
                      </a:r>
                      <a:r>
                        <a:rPr lang="zh-TW" altLang="en-US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TW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TBD)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王銘崇 醫師</a:t>
                      </a:r>
                      <a:endParaRPr lang="en-US" altLang="zh-TW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457200" rtl="0" eaLnBrk="1" latinLnBrk="0" hangingPunct="1"/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546868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5:05-15:1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450850" algn="l"/>
                        </a:tabLst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Discus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王銘崇 醫師</a:t>
                      </a:r>
                      <a:endParaRPr lang="en-US" altLang="zh-TW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457200" rtl="0" eaLnBrk="1" latinLnBrk="0" hangingPunct="1"/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189641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5:15-15: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Current</a:t>
                      </a:r>
                      <a:r>
                        <a:rPr lang="en-US" sz="1400" b="1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 treatment for first line FL</a:t>
                      </a:r>
                    </a:p>
                    <a:p>
                      <a:pPr marL="3365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450850" algn="l"/>
                        </a:tabLst>
                        <a:defRPr/>
                      </a:pPr>
                      <a:r>
                        <a:rPr lang="en-US" sz="1000" kern="1200" baseline="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Chemoimmunotherapy</a:t>
                      </a:r>
                      <a:endParaRPr lang="en-US" sz="1000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  <a:p>
                      <a:pPr marL="336550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450850" algn="l"/>
                        </a:tabLst>
                        <a:defRPr/>
                      </a:pP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Other chemo-free regime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400" dirty="0"/>
                        <a:t>蕭聖諺 醫師 </a:t>
                      </a:r>
                      <a:r>
                        <a:rPr lang="en-US" altLang="zh-TW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TBD)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王銘崇 醫師</a:t>
                      </a:r>
                      <a:endParaRPr lang="en-US" altLang="zh-TW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641683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5:50-16:1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2" indent="0" algn="l" defTabSz="1793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None/>
                        <a:tabLst/>
                        <a:defRPr/>
                      </a:pPr>
                      <a:r>
                        <a:rPr lang="en-US" altLang="zh-TW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Discussion and Brea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王銘崇 醫師</a:t>
                      </a:r>
                      <a:endParaRPr lang="en-US" altLang="zh-TW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457200" rtl="0" eaLnBrk="1" latinLnBrk="0" hangingPunct="1"/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259296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aseline="0" dirty="0"/>
                        <a:t> 16:15-16:50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altLang="zh-TW" sz="1400" b="1" baseline="0"/>
                        <a:t>Evolving </a:t>
                      </a:r>
                      <a:r>
                        <a:rPr lang="en-US" sz="1400" b="1" baseline="0" dirty="0"/>
                        <a:t>treatment landscape in relapse or refractory FL </a:t>
                      </a:r>
                    </a:p>
                    <a:p>
                      <a:pPr marL="450850" indent="-258763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baseline="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Chemoimmunotherapy</a:t>
                      </a:r>
                      <a:endParaRPr lang="en-US" sz="1000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  <a:p>
                      <a:pPr marL="450850" lvl="1" indent="-258763">
                        <a:buFont typeface="Arial" panose="020B0604020202020204" pitchFamily="34" charset="0"/>
                        <a:buChar char="•"/>
                      </a:pPr>
                      <a:r>
                        <a:rPr lang="en-US" altLang="zh-TW" sz="10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Transplant </a:t>
                      </a:r>
                    </a:p>
                    <a:p>
                      <a:pPr marL="450850" lvl="1" indent="-258763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Novel ag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400" dirty="0"/>
                        <a:t>王浩元 醫師 </a:t>
                      </a:r>
                      <a:r>
                        <a:rPr lang="en-US" altLang="zh-TW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TBD)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TW" altLang="en-US" sz="1400" dirty="0"/>
                        <a:t>陳彩雲 醫師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402231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6:50-17: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zh-TW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Discus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400" dirty="0"/>
                        <a:t>陳彩雲 醫師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335116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7:00-17: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Current</a:t>
                      </a:r>
                      <a:r>
                        <a:rPr lang="en-US" sz="1400" b="1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 treatment landscape for FL in Taiwan</a:t>
                      </a:r>
                      <a:endParaRPr lang="en-US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450850" lvl="1" indent="-2857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urrent</a:t>
                      </a: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vailable treatment options in Taiwan</a:t>
                      </a:r>
                    </a:p>
                    <a:p>
                      <a:pPr marL="450850" lvl="1" indent="-2857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L treatment pattern in Taiwan</a:t>
                      </a:r>
                    </a:p>
                    <a:p>
                      <a:pPr marL="450850" lvl="1" indent="-2857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gap between Taiwan and other countries regarding available FL treatment op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柯博升 醫師 </a:t>
                      </a:r>
                      <a:r>
                        <a:rPr lang="en-US" altLang="zh-TW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TBD)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zh-TW" alt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陳彩雲 醫師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234114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7:35-17: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zh-TW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Discus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400" dirty="0"/>
                        <a:t>陳彩雲 醫師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01357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7:45-19: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zh-TW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Dinner</a:t>
                      </a:r>
                      <a:r>
                        <a:rPr lang="en-US" altLang="zh-TW" sz="1400" b="1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 with discussion</a:t>
                      </a:r>
                      <a:endParaRPr lang="en-US" altLang="zh-TW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400" dirty="0"/>
                        <a:t>陳彩雲 醫師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3608170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79053" y="847767"/>
            <a:ext cx="7904925" cy="3325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b="1" dirty="0">
                <a:solidFill>
                  <a:srgbClr val="009974"/>
                </a:solidFill>
              </a:rPr>
              <a:t>Date:   24, Oct, 2020                   Venue: </a:t>
            </a:r>
            <a:r>
              <a:rPr lang="zh-TW" altLang="en-US" b="1" dirty="0">
                <a:solidFill>
                  <a:srgbClr val="009974"/>
                </a:solidFill>
              </a:rPr>
              <a:t>高雄林皇宮</a:t>
            </a:r>
            <a:r>
              <a:rPr lang="en-US" b="1" dirty="0">
                <a:solidFill>
                  <a:srgbClr val="009974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82966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liqopa">
  <a:themeElements>
    <a:clrScheme name="Aliqopa Colors">
      <a:dk1>
        <a:srgbClr val="4F453D"/>
      </a:dk1>
      <a:lt1>
        <a:srgbClr val="009974"/>
      </a:lt1>
      <a:dk2>
        <a:srgbClr val="F47920"/>
      </a:dk2>
      <a:lt2>
        <a:srgbClr val="FFFFFF"/>
      </a:lt2>
      <a:accent1>
        <a:srgbClr val="F47920"/>
      </a:accent1>
      <a:accent2>
        <a:srgbClr val="FFEC00"/>
      </a:accent2>
      <a:accent3>
        <a:srgbClr val="D99415"/>
      </a:accent3>
      <a:accent4>
        <a:srgbClr val="009974"/>
      </a:accent4>
      <a:accent5>
        <a:srgbClr val="4F453D"/>
      </a:accent5>
      <a:accent6>
        <a:srgbClr val="808080"/>
      </a:accent6>
      <a:hlink>
        <a:srgbClr val="F47920"/>
      </a:hlink>
      <a:folHlink>
        <a:srgbClr val="00997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F6ADBE093453648886D1CE3F90DD268" ma:contentTypeVersion="13" ma:contentTypeDescription="Create a new document." ma:contentTypeScope="" ma:versionID="38b6b54305b32f66a9d3c417042e121a">
  <xsd:schema xmlns:xsd="http://www.w3.org/2001/XMLSchema" xmlns:xs="http://www.w3.org/2001/XMLSchema" xmlns:p="http://schemas.microsoft.com/office/2006/metadata/properties" xmlns:ns3="5ec14cb0-a2ec-419c-b437-5bb487ac9777" xmlns:ns4="761fe63b-cbc7-4b19-ac61-35e1238855f3" targetNamespace="http://schemas.microsoft.com/office/2006/metadata/properties" ma:root="true" ma:fieldsID="842f7543f4af5f301d2cb5590217eac0" ns3:_="" ns4:_="">
    <xsd:import namespace="5ec14cb0-a2ec-419c-b437-5bb487ac9777"/>
    <xsd:import namespace="761fe63b-cbc7-4b19-ac61-35e1238855f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c14cb0-a2ec-419c-b437-5bb487ac97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1fe63b-cbc7-4b19-ac61-35e1238855f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DACF95D-4FAD-4E0D-849B-8243FC3EE3D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D8E0045-7C61-499F-8F25-1AEFD1928E0D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761fe63b-cbc7-4b19-ac61-35e1238855f3"/>
    <ds:schemaRef ds:uri="5ec14cb0-a2ec-419c-b437-5bb487ac9777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DA9E8DC9-2994-4D15-9B6A-54121F7298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ec14cb0-a2ec-419c-b437-5bb487ac9777"/>
    <ds:schemaRef ds:uri="761fe63b-cbc7-4b19-ac61-35e1238855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89</TotalTime>
  <Words>181</Words>
  <Application>Microsoft Office PowerPoint</Application>
  <PresentationFormat>寬螢幕</PresentationFormat>
  <Paragraphs>52</Paragraphs>
  <Slides>1</Slides>
  <Notes>1</Notes>
  <HiddenSlides>0</HiddenSlides>
  <MMClips>0</MMClips>
  <ScaleCrop>false</ScaleCrop>
  <HeadingPairs>
    <vt:vector size="8" baseType="variant">
      <vt:variant>
        <vt:lpstr>使用字型</vt:lpstr>
      </vt:variant>
      <vt:variant>
        <vt:i4>4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</vt:i4>
      </vt:variant>
    </vt:vector>
  </HeadingPairs>
  <TitlesOfParts>
    <vt:vector size="7" baseType="lpstr">
      <vt:lpstr>Lucida Grande</vt:lpstr>
      <vt:lpstr>Arial</vt:lpstr>
      <vt:lpstr>Calibri</vt:lpstr>
      <vt:lpstr>Symbol</vt:lpstr>
      <vt:lpstr>Aliqopa</vt:lpstr>
      <vt:lpstr>think-cell Slide</vt:lpstr>
      <vt:lpstr>HST Lymphoma Working Group- Follicular lymphoma </vt:lpstr>
    </vt:vector>
  </TitlesOfParts>
  <Company>fc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cb fcb</dc:creator>
  <cp:keywords>Classification: Restricted</cp:keywords>
  <cp:lastModifiedBy>The Hematology Society of Taiwan</cp:lastModifiedBy>
  <cp:revision>274</cp:revision>
  <cp:lastPrinted>2020-01-21T02:06:02Z</cp:lastPrinted>
  <dcterms:created xsi:type="dcterms:W3CDTF">2017-01-25T16:55:49Z</dcterms:created>
  <dcterms:modified xsi:type="dcterms:W3CDTF">2020-06-11T08:09:4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F6ADBE093453648886D1CE3F90DD268</vt:lpwstr>
  </property>
  <property fmtid="{D5CDD505-2E9C-101B-9397-08002B2CF9AE}" pid="3" name="_dlc_policyId">
    <vt:lpwstr>0x0101|-2126682137</vt:lpwstr>
  </property>
  <property fmtid="{D5CDD505-2E9C-101B-9397-08002B2CF9AE}" pid="4" name="ItemRetentionFormula">
    <vt:lpwstr>&lt;formula id="Bayer SharePoint Retention Policy 2.1" /&gt;</vt:lpwstr>
  </property>
  <property fmtid="{D5CDD505-2E9C-101B-9397-08002B2CF9AE}" pid="5" name="_dlc_DocIdItemGuid">
    <vt:lpwstr>8d1600b7-4152-44d1-bb6b-bb11858f65fd</vt:lpwstr>
  </property>
  <property fmtid="{D5CDD505-2E9C-101B-9397-08002B2CF9AE}" pid="6" name="DataClassBayerRetention">
    <vt:lpwstr>1;#Short-Term|6d967203-8346-4b9c-90f8-b3828a3fa508</vt:lpwstr>
  </property>
  <property fmtid="{D5CDD505-2E9C-101B-9397-08002B2CF9AE}" pid="7" name="Classification">
    <vt:lpwstr>Restricted</vt:lpwstr>
  </property>
  <property fmtid="{D5CDD505-2E9C-101B-9397-08002B2CF9AE}" pid="8" name="MSIP_Label_2c76c141-ac86-40e5-abf2-c6f60e474cee_Enabled">
    <vt:lpwstr>True</vt:lpwstr>
  </property>
  <property fmtid="{D5CDD505-2E9C-101B-9397-08002B2CF9AE}" pid="9" name="MSIP_Label_2c76c141-ac86-40e5-abf2-c6f60e474cee_SiteId">
    <vt:lpwstr>fcb2b37b-5da0-466b-9b83-0014b67a7c78</vt:lpwstr>
  </property>
  <property fmtid="{D5CDD505-2E9C-101B-9397-08002B2CF9AE}" pid="10" name="MSIP_Label_2c76c141-ac86-40e5-abf2-c6f60e474cee_Owner">
    <vt:lpwstr>bear.yu@bayer.com</vt:lpwstr>
  </property>
  <property fmtid="{D5CDD505-2E9C-101B-9397-08002B2CF9AE}" pid="11" name="MSIP_Label_2c76c141-ac86-40e5-abf2-c6f60e474cee_SetDate">
    <vt:lpwstr>2019-12-04T02:16:11.6877690Z</vt:lpwstr>
  </property>
  <property fmtid="{D5CDD505-2E9C-101B-9397-08002B2CF9AE}" pid="12" name="MSIP_Label_2c76c141-ac86-40e5-abf2-c6f60e474cee_Name">
    <vt:lpwstr>RESTRICTED</vt:lpwstr>
  </property>
  <property fmtid="{D5CDD505-2E9C-101B-9397-08002B2CF9AE}" pid="13" name="MSIP_Label_2c76c141-ac86-40e5-abf2-c6f60e474cee_Application">
    <vt:lpwstr>Microsoft Azure Information Protection</vt:lpwstr>
  </property>
  <property fmtid="{D5CDD505-2E9C-101B-9397-08002B2CF9AE}" pid="14" name="MSIP_Label_2c76c141-ac86-40e5-abf2-c6f60e474cee_Extended_MSFT_Method">
    <vt:lpwstr>Automatic</vt:lpwstr>
  </property>
  <property fmtid="{D5CDD505-2E9C-101B-9397-08002B2CF9AE}" pid="15" name="Sensitivity">
    <vt:lpwstr>RESTRICTED</vt:lpwstr>
  </property>
</Properties>
</file>